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7F0000"/>
    <a:srgbClr val="B00000"/>
    <a:srgbClr val="FF8989"/>
    <a:srgbClr val="D9D9D9"/>
    <a:srgbClr val="A1A1A1"/>
    <a:srgbClr val="40404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PS)" userId="79615dfe-ed48-4e74-a40f-4f7b034c1c27" providerId="ADAL" clId="{06063CA0-AEE8-4F27-859A-97DB1F593625}"/>
    <pc:docChg chg="modSld">
      <pc:chgData name="Meyer Raphael (PAR-EPS)" userId="79615dfe-ed48-4e74-a40f-4f7b034c1c27" providerId="ADAL" clId="{06063CA0-AEE8-4F27-859A-97DB1F593625}" dt="2026-02-23T08:34:50.836" v="8" actId="27918"/>
      <pc:docMkLst>
        <pc:docMk/>
      </pc:docMkLst>
      <pc:sldChg chg="mod">
        <pc:chgData name="Meyer Raphael (PAR-EPS)" userId="79615dfe-ed48-4e74-a40f-4f7b034c1c27" providerId="ADAL" clId="{06063CA0-AEE8-4F27-859A-97DB1F593625}" dt="2026-02-23T08:34:50.836" v="8" actId="27918"/>
        <pc:sldMkLst>
          <pc:docMk/>
          <pc:sldMk cId="1659961403" sldId="399"/>
        </pc:sldMkLst>
      </pc:sldChg>
    </pc:docChg>
  </pc:docChgLst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0:20:11.085" v="15" actId="207"/>
      <pc:docMkLst>
        <pc:docMk/>
      </pc:docMkLst>
      <pc:sldChg chg="modSp mod">
        <pc:chgData name="Weigel Stefan (PAR-EPS)" userId="fd3b2067-2981-4ad8-bf3a-d2e1004e4fa8" providerId="ADAL" clId="{A4CFA2F4-FF8D-446B-B271-6DF568DBEADA}" dt="2026-02-12T10:20:11.085" v="15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A4CFA2F4-FF8D-446B-B271-6DF568DBEADA}" dt="2026-02-12T10:18:31.751" v="1" actId="20577"/>
          <ac:spMkLst>
            <pc:docMk/>
            <pc:sldMk cId="1659961403" sldId="399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2T10:20:11.085" v="15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Consommation de courant ferroviaire des trafics voyageurs et marchandises des CFF</c:v>
                </c:pt>
                <c:pt idx="1">
                  <c:v>Consommation propre d’Infrastructure Réseau</c:v>
                </c:pt>
                <c:pt idx="2">
                  <c:v>Consommation propre d’Infrastructure Énergie</c:v>
                </c:pt>
                <c:pt idx="3">
                  <c:v>Courant pour bâtiments et installations</c:v>
                </c:pt>
                <c:pt idx="4">
                  <c:v>Carburant pour la traction</c:v>
                </c:pt>
                <c:pt idx="5">
                  <c:v>Carburant pour véhicules routiers, machines et appareils</c:v>
                </c:pt>
                <c:pt idx="6">
                  <c:v>Énergie thermique pour bâtiments et installation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87.1480083680001</c:v>
                </c:pt>
                <c:pt idx="1">
                  <c:v>104.64253017199999</c:v>
                </c:pt>
                <c:pt idx="2">
                  <c:v>189.66059999999999</c:v>
                </c:pt>
                <c:pt idx="3">
                  <c:v>275.43759451</c:v>
                </c:pt>
                <c:pt idx="4">
                  <c:v>89.409598519170103</c:v>
                </c:pt>
                <c:pt idx="5">
                  <c:v>25.284319791009299</c:v>
                </c:pt>
                <c:pt idx="6">
                  <c:v>167.6689792675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68546321813766342"/>
          <c:w val="1"/>
          <c:h val="0.28382694757267685"/>
        </c:manualLayout>
      </c:layout>
      <c:overlay val="0"/>
      <c:txPr>
        <a:bodyPr/>
        <a:lstStyle/>
        <a:p>
          <a:pPr>
            <a:defRPr sz="9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Courant de traction</c:v>
                </c:pt>
                <c:pt idx="1">
                  <c:v>Consommation propre d’Infrastructure Réseau</c:v>
                </c:pt>
                <c:pt idx="2">
                  <c:v>Consommation propre d’Infrastructure Énergie</c:v>
                </c:pt>
                <c:pt idx="3">
                  <c:v>Courant pour bâtiments et installations</c:v>
                </c:pt>
                <c:pt idx="4">
                  <c:v>Carburant pour la traction</c:v>
                </c:pt>
                <c:pt idx="5">
                  <c:v>Carburant pour véhicules routiers, machines et appareils </c:v>
                </c:pt>
                <c:pt idx="6">
                  <c:v>Énergie thermique pour les bâtiments et installation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330.5229325307801</c:v>
                </c:pt>
                <c:pt idx="1">
                  <c:v>82.523456994486594</c:v>
                </c:pt>
                <c:pt idx="2">
                  <c:v>149.57062240297901</c:v>
                </c:pt>
                <c:pt idx="3">
                  <c:v>217.21629291502799</c:v>
                </c:pt>
                <c:pt idx="4">
                  <c:v>18849.021439193199</c:v>
                </c:pt>
                <c:pt idx="5">
                  <c:v>6818.9822849477196</c:v>
                </c:pt>
                <c:pt idx="6">
                  <c:v>20287.06897493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nergie et climat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27529068"/>
              </p:ext>
            </p:extLst>
          </p:nvPr>
        </p:nvGraphicFramePr>
        <p:xfrm>
          <a:off x="1487489" y="1481872"/>
          <a:ext cx="4787900" cy="5376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232916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ommation d’énergi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22942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Émissions de gaz à effet de serre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2785564178"/>
              </p:ext>
            </p:extLst>
          </p:nvPr>
        </p:nvGraphicFramePr>
        <p:xfrm>
          <a:off x="6114165" y="1481873"/>
          <a:ext cx="3600000" cy="4558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C1B2EA-7320-4AD7-B5F2-DCC4B9D2A5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96e82a89-ba48-4728-b345-cf206dbec8f1"/>
    <ds:schemaRef ds:uri="http://purl.org/dc/elements/1.1/"/>
    <ds:schemaRef ds:uri="http://www.w3.org/XML/1998/namespace"/>
    <ds:schemaRef ds:uri="http://schemas.openxmlformats.org/package/2006/metadata/core-properties"/>
    <ds:schemaRef ds:uri="2f5c8543-cf23-4718-a3b8-32b0a91d511a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Énergie et climat e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nergie et climat en 2024.</dc:title>
  <dc:creator>Meyer Raphael (KOM-PGA-VSF)</dc:creator>
  <cp:lastModifiedBy>Weigel Stefan (PAR-EPS)</cp:lastModifiedBy>
  <cp:revision>56</cp:revision>
  <cp:lastPrinted>2024-02-16T13:08:26Z</cp:lastPrinted>
  <dcterms:created xsi:type="dcterms:W3CDTF">2020-09-30T11:00:09Z</dcterms:created>
  <dcterms:modified xsi:type="dcterms:W3CDTF">2026-03-03T13:1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